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267" r:id="rId5"/>
    <p:sldId id="275" r:id="rId6"/>
    <p:sldId id="276" r:id="rId7"/>
    <p:sldId id="277" r:id="rId8"/>
    <p:sldId id="278" r:id="rId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091" autoAdjust="0"/>
  </p:normalViewPr>
  <p:slideViewPr>
    <p:cSldViewPr>
      <p:cViewPr varScale="1">
        <p:scale>
          <a:sx n="62" d="100"/>
          <a:sy n="62" d="100"/>
        </p:scale>
        <p:origin x="1402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6F3DD-65F6-4AD1-B232-1E06156E00D5}" type="datetimeFigureOut">
              <a:rPr lang="en-US" smtClean="0"/>
              <a:t>1/2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13E61B-A088-46AC-BAAC-041BE8237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239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09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567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2987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595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6965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3744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241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8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864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0347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5195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314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SCMT 7.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746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720975"/>
            <a:ext cx="7772400" cy="1470025"/>
          </a:xfrm>
        </p:spPr>
        <p:txBody>
          <a:bodyPr>
            <a:normAutofit/>
          </a:bodyPr>
          <a:lstStyle/>
          <a:p>
            <a:pPr algn="l"/>
            <a:r>
              <a:rPr lang="en-US" sz="3200" dirty="0"/>
              <a:t>Supplier Review E-SIR Response – TSCMT 7.6</a:t>
            </a:r>
            <a:br>
              <a:rPr lang="en-US" sz="3200" dirty="0"/>
            </a:br>
            <a:r>
              <a:rPr lang="en-US" sz="2400" dirty="0"/>
              <a:t>Scope: Instructions for a supplier reviewing the information request response.</a:t>
            </a:r>
            <a:endParaRPr lang="en-US" sz="3200" dirty="0"/>
          </a:p>
        </p:txBody>
      </p:sp>
      <p:pic>
        <p:nvPicPr>
          <p:cNvPr id="4" name="Picture 11" descr="TG_2C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5874" y="652689"/>
            <a:ext cx="2160588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65113" y="2036763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301625" y="5030788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1</a:t>
            </a:fld>
            <a:endParaRPr lang="en-US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089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2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066801" y="304800"/>
            <a:ext cx="6858000" cy="95410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Supplier initiator will receive an e-mail notification when an E-SIR response has been provided.</a:t>
            </a:r>
          </a:p>
          <a:p>
            <a:endParaRPr lang="en-US" sz="1400" dirty="0"/>
          </a:p>
          <a:p>
            <a:r>
              <a:rPr lang="en-US" sz="1400" dirty="0"/>
              <a:t>A hyperlink to the TG supplier portal has been included for your convenience.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11" y="1590675"/>
            <a:ext cx="8833189" cy="343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4278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3</a:t>
            </a:fld>
            <a:endParaRPr lang="en-US"/>
          </a:p>
        </p:txBody>
      </p:sp>
      <p:cxnSp>
        <p:nvCxnSpPr>
          <p:cNvPr id="7" name="Straight Arrow Connector 6"/>
          <p:cNvCxnSpPr>
            <a:stCxn id="6" idx="1"/>
          </p:cNvCxnSpPr>
          <p:nvPr/>
        </p:nvCxnSpPr>
        <p:spPr>
          <a:xfrm flipH="1">
            <a:off x="3048000" y="5117068"/>
            <a:ext cx="16764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020FEE04-F7C0-42DA-9AB6-B69B9B0B5B26}"/>
              </a:ext>
            </a:extLst>
          </p:cNvPr>
          <p:cNvGrpSpPr/>
          <p:nvPr/>
        </p:nvGrpSpPr>
        <p:grpSpPr>
          <a:xfrm>
            <a:off x="228600" y="52722"/>
            <a:ext cx="8763000" cy="5271753"/>
            <a:chOff x="228600" y="52722"/>
            <a:chExt cx="8763000" cy="5271753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" y="1143000"/>
              <a:ext cx="6648450" cy="4181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C735B23-3B3C-4072-A552-7859919D74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8600" y="52722"/>
              <a:ext cx="8763000" cy="1688209"/>
            </a:xfrm>
            <a:prstGeom prst="rect">
              <a:avLst/>
            </a:prstGeom>
          </p:spPr>
        </p:pic>
      </p:grpSp>
      <p:sp>
        <p:nvSpPr>
          <p:cNvPr id="6" name="TextBox 5"/>
          <p:cNvSpPr txBox="1"/>
          <p:nvPr/>
        </p:nvSpPr>
        <p:spPr>
          <a:xfrm>
            <a:off x="4724400" y="4747736"/>
            <a:ext cx="3505201" cy="7386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Once logged in you will see that a response has been provided for E-SIR 3, access the E-SIR by clicking on the hyperlink</a:t>
            </a:r>
          </a:p>
        </p:txBody>
      </p:sp>
    </p:spTree>
    <p:extLst>
      <p:ext uri="{BB962C8B-B14F-4D97-AF65-F5344CB8AC3E}">
        <p14:creationId xmlns:p14="http://schemas.microsoft.com/office/powerpoint/2010/main" val="25185912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4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867400" y="2971800"/>
            <a:ext cx="2819400" cy="31085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Review E-SIR response and then select appropriate action resul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f response addresses and clears the issue then select “Response accepted – Close E-SIR” and click on “Process E-SIR” lin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f additional information is required, then select “Close E-SIR – Initiate New E-SIR Related to this E-SIR” and click on “Process E-SIR” link.  This will open and initiate a new E-SIR applic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3200400"/>
            <a:ext cx="4880627" cy="270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>
            <a:stCxn id="5122" idx="2"/>
          </p:cNvCxnSpPr>
          <p:nvPr/>
        </p:nvCxnSpPr>
        <p:spPr>
          <a:xfrm flipH="1">
            <a:off x="2407443" y="2304629"/>
            <a:ext cx="1" cy="1337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2133600" y="2438400"/>
            <a:ext cx="273844" cy="152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133600" y="2590800"/>
            <a:ext cx="457200" cy="152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H="1">
            <a:off x="2407443" y="2743200"/>
            <a:ext cx="183357" cy="76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2407443" y="2819400"/>
            <a:ext cx="0" cy="228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ight Brace 18"/>
          <p:cNvSpPr/>
          <p:nvPr/>
        </p:nvSpPr>
        <p:spPr>
          <a:xfrm>
            <a:off x="3962400" y="4953000"/>
            <a:ext cx="1905000" cy="6096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381000" y="381000"/>
            <a:ext cx="4052887" cy="1923629"/>
            <a:chOff x="381000" y="381000"/>
            <a:chExt cx="4052887" cy="1923629"/>
          </a:xfrm>
        </p:grpSpPr>
        <p:pic>
          <p:nvPicPr>
            <p:cNvPr id="512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000" y="381000"/>
              <a:ext cx="4052887" cy="19236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8" name="Picture 4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772" b="40114"/>
            <a:stretch/>
          </p:blipFill>
          <p:spPr bwMode="auto">
            <a:xfrm>
              <a:off x="533400" y="1905000"/>
              <a:ext cx="1524000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530170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7.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12/15/2017 Revision: 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5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95785" y="467380"/>
            <a:ext cx="7833813" cy="5232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By selecting the “Manage E-SIRs” link from the E-SIRS main menu sub-menu list you can see all open E-SIRs and perform a search of all previous E-SIRs processed.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4" t="48761" r="8023" b="10996"/>
          <a:stretch/>
        </p:blipFill>
        <p:spPr bwMode="auto">
          <a:xfrm>
            <a:off x="1981200" y="3809999"/>
            <a:ext cx="5181600" cy="2546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BAF593-6062-480C-A6D5-0C3CDDE89C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70" t="14733" r="1300" b="44059"/>
          <a:stretch/>
        </p:blipFill>
        <p:spPr>
          <a:xfrm>
            <a:off x="135485" y="1199505"/>
            <a:ext cx="8372954" cy="2077095"/>
          </a:xfrm>
          <a:prstGeom prst="rect">
            <a:avLst/>
          </a:prstGeom>
        </p:spPr>
      </p:pic>
      <p:cxnSp>
        <p:nvCxnSpPr>
          <p:cNvPr id="7" name="Straight Arrow Connector 6"/>
          <p:cNvCxnSpPr>
            <a:cxnSpLocks/>
            <a:stCxn id="6" idx="2"/>
          </p:cNvCxnSpPr>
          <p:nvPr/>
        </p:nvCxnSpPr>
        <p:spPr>
          <a:xfrm>
            <a:off x="4312692" y="990600"/>
            <a:ext cx="2697708" cy="9144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4476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38F0665F619440A026651497F1F213" ma:contentTypeVersion="3" ma:contentTypeDescription="Create a new document." ma:contentTypeScope="" ma:versionID="512b5843f1e14b88544e85f14ee9ecba">
  <xsd:schema xmlns:xsd="http://www.w3.org/2001/XMLSchema" xmlns:xs="http://www.w3.org/2001/XMLSchema" xmlns:p="http://schemas.microsoft.com/office/2006/metadata/properties" xmlns:ns2="d144ef81-a420-4d3d-9c25-279f13b02980" targetNamespace="http://schemas.microsoft.com/office/2006/metadata/properties" ma:root="true" ma:fieldsID="c0847651f4081285bd038afb0c244fa7" ns2:_="">
    <xsd:import namespace="d144ef81-a420-4d3d-9c25-279f13b02980"/>
    <xsd:element name="properties">
      <xsd:complexType>
        <xsd:sequence>
          <xsd:element name="documentManagement">
            <xsd:complexType>
              <xsd:all>
                <xsd:element ref="ns2:Folder"/>
                <xsd:element ref="ns2:Revision_x0020_Level"/>
                <xsd:element ref="ns2:Effective_x0020_Dat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44ef81-a420-4d3d-9c25-279f13b02980" elementFormDefault="qualified">
    <xsd:import namespace="http://schemas.microsoft.com/office/2006/documentManagement/types"/>
    <xsd:import namespace="http://schemas.microsoft.com/office/infopath/2007/PartnerControls"/>
    <xsd:element name="Folder" ma:index="8" ma:displayName="Folder" ma:default="Section 1.0" ma:format="Dropdown" ma:internalName="Folder">
      <xsd:simpleType>
        <xsd:restriction base="dms:Choice">
          <xsd:enumeration value="Section 1.0"/>
          <xsd:enumeration value="Section 2.0"/>
          <xsd:enumeration value="Section 3.0"/>
          <xsd:enumeration value="Section 4.0"/>
          <xsd:enumeration value="Section 5.0"/>
          <xsd:enumeration value="Section 6.0"/>
          <xsd:enumeration value="Section 7.0"/>
          <xsd:enumeration value="Section 8.0"/>
        </xsd:restriction>
      </xsd:simpleType>
    </xsd:element>
    <xsd:element name="Revision_x0020_Level" ma:index="9" ma:displayName="Revision Level" ma:internalName="Revision_x0020_Level">
      <xsd:simpleType>
        <xsd:restriction base="dms:Text">
          <xsd:maxLength value="255"/>
        </xsd:restriction>
      </xsd:simpleType>
    </xsd:element>
    <xsd:element name="Effective_x0020_Date" ma:index="10" ma:displayName="Effective Date" ma:format="DateOnly" ma:internalName="Effective_x0020_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vision_x0020_Level xmlns="d144ef81-a420-4d3d-9c25-279f13b02980">A</Revision_x0020_Level>
    <Effective_x0020_Date xmlns="d144ef81-a420-4d3d-9c25-279f13b02980">2017-02-13T05:00:00+00:00</Effective_x0020_Date>
    <Folder xmlns="d144ef81-a420-4d3d-9c25-279f13b02980">Section 7.0</Folder>
  </documentManagement>
</p:properties>
</file>

<file path=customXml/itemProps1.xml><?xml version="1.0" encoding="utf-8"?>
<ds:datastoreItem xmlns:ds="http://schemas.openxmlformats.org/officeDocument/2006/customXml" ds:itemID="{E59F6E73-E44E-4FB1-9261-A10816117C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44ef81-a420-4d3d-9c25-279f13b029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EEA3E0D-6292-443B-84D2-F179EDBCDE1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706BCA5-3EF3-4704-BFB4-705A032536A4}">
  <ds:schemaRefs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d144ef81-a420-4d3d-9c25-279f13b0298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03</TotalTime>
  <Words>240</Words>
  <Application>Microsoft Office PowerPoint</Application>
  <PresentationFormat>On-screen Show (4:3)</PresentationFormat>
  <Paragraphs>25</Paragraphs>
  <Slides>5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Arial</vt:lpstr>
      <vt:lpstr>Calibri</vt:lpstr>
      <vt:lpstr>Office Theme</vt:lpstr>
      <vt:lpstr>Supplier Review E-SIR Response – TSCMT 7.6 Scope: Instructions for a supplier reviewing the information request response.</vt:lpstr>
      <vt:lpstr>PowerPoint Presentation</vt:lpstr>
      <vt:lpstr>PowerPoint Presentation</vt:lpstr>
      <vt:lpstr>PowerPoint Presentation</vt:lpstr>
      <vt:lpstr>PowerPoint Presentation</vt:lpstr>
    </vt:vector>
  </TitlesOfParts>
  <Company>Triumph Aerostructures - Vought Aircraft Divi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ot, Frank</dc:creator>
  <cp:lastModifiedBy>Willford, Eric</cp:lastModifiedBy>
  <cp:revision>85</cp:revision>
  <dcterms:created xsi:type="dcterms:W3CDTF">2013-02-27T15:23:51Z</dcterms:created>
  <dcterms:modified xsi:type="dcterms:W3CDTF">2018-01-24T18:3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38F0665F619440A026651497F1F213</vt:lpwstr>
  </property>
</Properties>
</file>